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16768617" r:id="rId2"/>
    <p:sldId id="16768742" r:id="rId3"/>
    <p:sldId id="16768745" r:id="rId4"/>
    <p:sldId id="16768744" r:id="rId5"/>
    <p:sldId id="16768746" r:id="rId6"/>
    <p:sldId id="16768747" r:id="rId7"/>
    <p:sldId id="16768654" r:id="rId8"/>
    <p:sldId id="16768743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rolina" initials="C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B3A"/>
    <a:srgbClr val="EDEDED"/>
    <a:srgbClr val="0070C0"/>
    <a:srgbClr val="E6E6E6"/>
    <a:srgbClr val="7F7F7F"/>
    <a:srgbClr val="FFFFCC"/>
    <a:srgbClr val="909090"/>
    <a:srgbClr val="92D050"/>
    <a:srgbClr val="4E6127"/>
    <a:srgbClr val="70824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4291" autoAdjust="0"/>
  </p:normalViewPr>
  <p:slideViewPr>
    <p:cSldViewPr snapToGrid="0">
      <p:cViewPr varScale="1">
        <p:scale>
          <a:sx n="107" d="100"/>
          <a:sy n="107" d="100"/>
        </p:scale>
        <p:origin x="636" y="10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A2BCBBC-8A08-4DC5-8067-A023AA0D9C54}" type="datetimeFigureOut">
              <a:rPr lang="en-ID" smtClean="0"/>
              <a:t>10/11/2025</a:t>
            </a:fld>
            <a:endParaRPr lang="en-ID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137ADA-529F-4B70-88BB-AB8542684E52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9F7DE5-FDA4-4838-A65A-091243A9E520}" type="datetimeFigureOut">
              <a:rPr lang="en-ID" smtClean="0"/>
              <a:t>10/11/2025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94A359A-8626-4329-B5B5-208DD787FDC1}" type="slidenum">
              <a:rPr lang="en-ID" smtClean="0"/>
              <a:t>‹#›</a:t>
            </a:fld>
            <a:endParaRPr lang="en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664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ED6B0A4B-25DA-4F49-8DDB-F6D856C25F3E}" type="slidenum">
              <a:rPr kumimoji="0" lang="en-ID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</a:t>
            </a:fld>
            <a:endParaRPr kumimoji="0" lang="en-ID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279400" y="3429000"/>
            <a:ext cx="6038850" cy="952500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</a:lstStyle>
          <a:p>
            <a:r>
              <a:rPr lang="en-GB"/>
              <a:t>Subtitle</a:t>
            </a:r>
            <a:endParaRPr lang="en-ID"/>
          </a:p>
        </p:txBody>
      </p:sp>
      <p:sp>
        <p:nvSpPr>
          <p:cNvPr id="14" name="Title 13"/>
          <p:cNvSpPr>
            <a:spLocks noGrp="1"/>
          </p:cNvSpPr>
          <p:nvPr>
            <p:ph type="title" hasCustomPrompt="1"/>
          </p:nvPr>
        </p:nvSpPr>
        <p:spPr>
          <a:xfrm>
            <a:off x="279400" y="1934618"/>
            <a:ext cx="6038850" cy="1325563"/>
          </a:xfrm>
        </p:spPr>
        <p:txBody>
          <a:bodyPr>
            <a:normAutofit/>
          </a:bodyPr>
          <a:lstStyle>
            <a:lvl1pPr>
              <a:defRPr sz="5400" b="1">
                <a:solidFill>
                  <a:srgbClr val="006B3A"/>
                </a:solidFill>
                <a:latin typeface="+mn-lt"/>
              </a:defRPr>
            </a:lvl1pPr>
          </a:lstStyle>
          <a:p>
            <a:r>
              <a:rPr lang="en-US"/>
              <a:t>TITLE</a:t>
            </a:r>
            <a:endParaRPr lang="en-ID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714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522" y="126521"/>
            <a:ext cx="1345720" cy="607024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522" y="126521"/>
            <a:ext cx="1345720" cy="607024"/>
          </a:xfrm>
          <a:prstGeom prst="rect">
            <a:avLst/>
          </a:prstGeom>
        </p:spPr>
      </p:pic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61058" y="5963060"/>
            <a:ext cx="449826" cy="35908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3A70A1-A3CD-47F1-A841-54FD320B0B0A}" type="slidenum">
              <a:rPr lang="en-ID" smtClean="0"/>
              <a:t>‹#›</a:t>
            </a:fld>
            <a:endParaRPr lang="en-ID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6858001"/>
          </a:xfrm>
          <a:prstGeom prst="rect">
            <a:avLst/>
          </a:prstGeom>
        </p:spPr>
      </p:pic>
      <p:sp>
        <p:nvSpPr>
          <p:cNvPr id="9" name="Title 9"/>
          <p:cNvSpPr>
            <a:spLocks noGrp="1"/>
          </p:cNvSpPr>
          <p:nvPr>
            <p:ph type="title" hasCustomPrompt="1"/>
          </p:nvPr>
        </p:nvSpPr>
        <p:spPr>
          <a:xfrm>
            <a:off x="2620371" y="4148924"/>
            <a:ext cx="6332561" cy="709680"/>
          </a:xfrm>
        </p:spPr>
        <p:txBody>
          <a:bodyPr anchor="t">
            <a:normAutofit/>
          </a:bodyPr>
          <a:lstStyle>
            <a:lvl1pPr algn="ctr">
              <a:defRPr sz="4000" b="1">
                <a:solidFill>
                  <a:srgbClr val="006B3A"/>
                </a:solidFill>
                <a:latin typeface="+mn-lt"/>
              </a:defRPr>
            </a:lvl1pPr>
          </a:lstStyle>
          <a:p>
            <a:r>
              <a:rPr lang="en-US"/>
              <a:t>Section 1</a:t>
            </a:r>
            <a:endParaRPr lang="en-ID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938339" y="5049839"/>
            <a:ext cx="8256587" cy="1214437"/>
          </a:xfrm>
        </p:spPr>
        <p:txBody>
          <a:bodyPr>
            <a:noAutofit/>
          </a:bodyPr>
          <a:lstStyle>
            <a:lvl1pPr marL="0" indent="0" algn="ctr">
              <a:buNone/>
              <a:defRPr lang="en-ID" sz="1600" b="0" i="0" smtClean="0">
                <a:effectLst/>
              </a:defRPr>
            </a:lvl1pPr>
          </a:lstStyle>
          <a:p>
            <a:pPr lvl="0"/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"Lorem ipsum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dolor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sit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amet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,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consectetur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adipiscing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elit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,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sed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do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eiusmod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tempor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incididunt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ut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labore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et dolore magna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aliqua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. </a:t>
            </a:r>
            <a:endParaRPr lang="en-ID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049" y="6264275"/>
            <a:ext cx="1081179" cy="48769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685800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049" y="6264275"/>
            <a:ext cx="1081179" cy="487696"/>
          </a:xfrm>
          <a:prstGeom prst="rect">
            <a:avLst/>
          </a:prstGeom>
        </p:spPr>
      </p:pic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87148" y="6084734"/>
            <a:ext cx="449826" cy="35908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3A70A1-A3CD-47F1-A841-54FD320B0B0A}" type="slidenum">
              <a:rPr lang="en-ID" smtClean="0"/>
              <a:t>‹#›</a:t>
            </a:fld>
            <a:endParaRPr lang="en-ID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6858001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015" y="1124185"/>
            <a:ext cx="11287125" cy="1325563"/>
          </a:xfrm>
        </p:spPr>
        <p:txBody>
          <a:bodyPr>
            <a:normAutofit/>
          </a:bodyPr>
          <a:lstStyle>
            <a:lvl1pPr>
              <a:defRPr sz="4000" b="1">
                <a:solidFill>
                  <a:srgbClr val="006B3A"/>
                </a:solidFill>
                <a:latin typeface="+mn-lt"/>
              </a:defRPr>
            </a:lvl1pPr>
          </a:lstStyle>
          <a:p>
            <a:r>
              <a:rPr lang="en-US"/>
              <a:t>LOREM IPSUM</a:t>
            </a:r>
            <a:endParaRPr lang="en-ID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32016" y="2665282"/>
            <a:ext cx="11287125" cy="2306542"/>
          </a:xfrm>
        </p:spPr>
        <p:txBody>
          <a:bodyPr>
            <a:normAutofit/>
          </a:bodyPr>
          <a:lstStyle>
            <a:lvl1pPr marL="0" indent="0" algn="just">
              <a:buNone/>
              <a:defRPr lang="en-ID" sz="1800" b="0" i="0" smtClean="0">
                <a:effectLst/>
              </a:defRPr>
            </a:lvl1pPr>
          </a:lstStyle>
          <a:p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Lorem ipsum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dolor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sit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amet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,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consectetur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adipiscing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elit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,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sed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do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eiusmod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tempor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incididunt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ut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labore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et dolore magna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aliqua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. Ut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enim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ad minim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veniam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,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quis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nostrud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exercitation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ullamco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laboris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nisi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ut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aliquip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ex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ea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commodo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consequat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. Duis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aute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irure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dolor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in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reprehenderit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in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voluptate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velit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esse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cillum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dolore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eu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fugiat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nulla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pariatur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. </a:t>
            </a:r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049" y="6264275"/>
            <a:ext cx="1081179" cy="48769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685800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049" y="6264275"/>
            <a:ext cx="1081179" cy="487696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87148" y="6084734"/>
            <a:ext cx="449826" cy="35908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3A70A1-A3CD-47F1-A841-54FD320B0B0A}" type="slidenum">
              <a:rPr lang="en-ID" smtClean="0"/>
              <a:t>‹#›</a:t>
            </a:fld>
            <a:endParaRPr lang="en-ID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7142"/>
          </a:xfrm>
          <a:prstGeom prst="rect">
            <a:avLst/>
          </a:prstGeom>
        </p:spPr>
      </p:pic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165866" y="1392351"/>
            <a:ext cx="3912336" cy="2242073"/>
          </a:xfrm>
        </p:spPr>
        <p:txBody>
          <a:bodyPr>
            <a:normAutofit/>
          </a:bodyPr>
          <a:lstStyle>
            <a:lvl1pPr algn="r">
              <a:defRPr sz="5400" b="1">
                <a:solidFill>
                  <a:srgbClr val="006B3A"/>
                </a:solidFill>
                <a:latin typeface="+mn-lt"/>
              </a:defRPr>
            </a:lvl1pPr>
          </a:lstStyle>
          <a:p>
            <a:r>
              <a:rPr lang="en-US"/>
              <a:t>THANK YOU</a:t>
            </a:r>
            <a:endParaRPr lang="en-ID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522" y="126521"/>
            <a:ext cx="1345720" cy="60702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522" y="126521"/>
            <a:ext cx="1345720" cy="607024"/>
          </a:xfrm>
          <a:prstGeom prst="rect">
            <a:avLst/>
          </a:prstGeom>
        </p:spPr>
      </p:pic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87148" y="6084734"/>
            <a:ext cx="449826" cy="35908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3A70A1-A3CD-47F1-A841-54FD320B0B0A}" type="slidenum">
              <a:rPr lang="en-ID" smtClean="0"/>
              <a:t>‹#›</a:t>
            </a:fld>
            <a:endParaRPr lang="en-ID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279400" y="3429000"/>
            <a:ext cx="6038850" cy="952500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</a:lstStyle>
          <a:p>
            <a:r>
              <a:rPr lang="en-GB"/>
              <a:t>Subtitle</a:t>
            </a:r>
            <a:endParaRPr lang="en-ID"/>
          </a:p>
        </p:txBody>
      </p:sp>
      <p:sp>
        <p:nvSpPr>
          <p:cNvPr id="14" name="Title 13"/>
          <p:cNvSpPr>
            <a:spLocks noGrp="1"/>
          </p:cNvSpPr>
          <p:nvPr>
            <p:ph type="title" hasCustomPrompt="1"/>
          </p:nvPr>
        </p:nvSpPr>
        <p:spPr>
          <a:xfrm>
            <a:off x="279400" y="1934618"/>
            <a:ext cx="6038850" cy="1325563"/>
          </a:xfrm>
        </p:spPr>
        <p:txBody>
          <a:bodyPr>
            <a:normAutofit/>
          </a:bodyPr>
          <a:lstStyle>
            <a:lvl1pPr>
              <a:defRPr sz="5400" b="1">
                <a:solidFill>
                  <a:srgbClr val="006B3A"/>
                </a:solidFill>
                <a:latin typeface="+mn-lt"/>
              </a:defRPr>
            </a:lvl1pPr>
          </a:lstStyle>
          <a:p>
            <a:r>
              <a:rPr lang="en-US"/>
              <a:t>TITLE</a:t>
            </a:r>
            <a:endParaRPr lang="en-ID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714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522" y="126521"/>
            <a:ext cx="1345720" cy="607024"/>
          </a:xfrm>
          <a:prstGeom prst="rect">
            <a:avLst/>
          </a:prstGeom>
        </p:spPr>
      </p:pic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87148" y="6084734"/>
            <a:ext cx="449826" cy="35908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3A70A1-A3CD-47F1-A841-54FD320B0B0A}" type="slidenum">
              <a:rPr lang="en-ID" smtClean="0"/>
              <a:t>‹#›</a:t>
            </a:fld>
            <a:endParaRPr lang="en-ID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6858001"/>
          </a:xfrm>
          <a:prstGeom prst="rect">
            <a:avLst/>
          </a:prstGeom>
        </p:spPr>
      </p:pic>
      <p:sp>
        <p:nvSpPr>
          <p:cNvPr id="9" name="Title 9"/>
          <p:cNvSpPr>
            <a:spLocks noGrp="1"/>
          </p:cNvSpPr>
          <p:nvPr>
            <p:ph type="title" hasCustomPrompt="1"/>
          </p:nvPr>
        </p:nvSpPr>
        <p:spPr>
          <a:xfrm>
            <a:off x="2620371" y="4148924"/>
            <a:ext cx="6332561" cy="709680"/>
          </a:xfrm>
        </p:spPr>
        <p:txBody>
          <a:bodyPr anchor="t">
            <a:normAutofit/>
          </a:bodyPr>
          <a:lstStyle>
            <a:lvl1pPr algn="ctr">
              <a:defRPr sz="4000" b="1">
                <a:solidFill>
                  <a:srgbClr val="006B3A"/>
                </a:solidFill>
                <a:latin typeface="+mn-lt"/>
              </a:defRPr>
            </a:lvl1pPr>
          </a:lstStyle>
          <a:p>
            <a:r>
              <a:rPr lang="en-US"/>
              <a:t>Section 1</a:t>
            </a:r>
            <a:endParaRPr lang="en-ID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938339" y="5049839"/>
            <a:ext cx="8256587" cy="1214437"/>
          </a:xfrm>
        </p:spPr>
        <p:txBody>
          <a:bodyPr>
            <a:noAutofit/>
          </a:bodyPr>
          <a:lstStyle>
            <a:lvl1pPr marL="0" indent="0" algn="ctr">
              <a:buNone/>
              <a:defRPr lang="en-ID" sz="1600" b="0" i="0" smtClean="0">
                <a:effectLst/>
              </a:defRPr>
            </a:lvl1pPr>
          </a:lstStyle>
          <a:p>
            <a:pPr lvl="0"/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"Lorem ipsum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dolor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sit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amet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,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consectetur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adipiscing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elit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,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sed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do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eiusmod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tempor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incididunt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ut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labore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et dolore magna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aliqua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. </a:t>
            </a:r>
            <a:endParaRPr lang="en-ID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049" y="6264275"/>
            <a:ext cx="1081179" cy="487696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70890" y="6405512"/>
            <a:ext cx="449826" cy="35908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3A70A1-A3CD-47F1-A841-54FD320B0B0A}" type="slidenum">
              <a:rPr lang="en-ID" smtClean="0"/>
              <a:t>‹#›</a:t>
            </a:fld>
            <a:endParaRPr lang="en-ID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6858001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015" y="1124185"/>
            <a:ext cx="11287125" cy="1325563"/>
          </a:xfrm>
        </p:spPr>
        <p:txBody>
          <a:bodyPr>
            <a:normAutofit/>
          </a:bodyPr>
          <a:lstStyle>
            <a:lvl1pPr>
              <a:defRPr sz="4000" b="1">
                <a:solidFill>
                  <a:srgbClr val="006B3A"/>
                </a:solidFill>
                <a:latin typeface="+mn-lt"/>
              </a:defRPr>
            </a:lvl1pPr>
          </a:lstStyle>
          <a:p>
            <a:r>
              <a:rPr lang="en-US"/>
              <a:t>LOREM IPSUM</a:t>
            </a:r>
            <a:endParaRPr lang="en-ID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32016" y="2665282"/>
            <a:ext cx="11287125" cy="2306542"/>
          </a:xfrm>
        </p:spPr>
        <p:txBody>
          <a:bodyPr>
            <a:normAutofit/>
          </a:bodyPr>
          <a:lstStyle>
            <a:lvl1pPr marL="0" indent="0" algn="just">
              <a:buNone/>
              <a:defRPr lang="en-ID" sz="1800" b="0" i="0" smtClean="0">
                <a:effectLst/>
              </a:defRPr>
            </a:lvl1pPr>
          </a:lstStyle>
          <a:p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Lorem ipsum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dolor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sit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amet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,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consectetur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adipiscing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elit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,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sed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do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eiusmod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tempor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incididunt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ut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labore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et dolore magna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aliqua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. Ut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enim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ad minim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veniam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,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quis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nostrud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exercitation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ullamco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laboris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nisi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ut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aliquip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ex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ea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commodo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consequat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. Duis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aute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irure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dolor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in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reprehenderit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in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voluptate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velit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esse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cillum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dolore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eu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fugiat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nulla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 </a:t>
            </a:r>
            <a:r>
              <a:rPr lang="en-ID" b="0" i="0" err="1">
                <a:solidFill>
                  <a:srgbClr val="000000"/>
                </a:solidFill>
                <a:effectLst/>
                <a:latin typeface="Open Sans"/>
              </a:rPr>
              <a:t>pariatur</a:t>
            </a:r>
            <a:r>
              <a:rPr lang="en-ID" b="0" i="0">
                <a:solidFill>
                  <a:srgbClr val="000000"/>
                </a:solidFill>
                <a:effectLst/>
                <a:latin typeface="Open Sans"/>
              </a:rPr>
              <a:t>. </a:t>
            </a:r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049" y="6264275"/>
            <a:ext cx="1081179" cy="487696"/>
          </a:xfrm>
          <a:prstGeom prst="rect">
            <a:avLst/>
          </a:prstGeom>
        </p:spPr>
      </p:pic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87148" y="6084734"/>
            <a:ext cx="449826" cy="35908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3A70A1-A3CD-47F1-A841-54FD320B0B0A}" type="slidenum">
              <a:rPr lang="en-ID" smtClean="0"/>
              <a:t>‹#›</a:t>
            </a:fld>
            <a:endParaRPr lang="en-ID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7142"/>
          </a:xfrm>
          <a:prstGeom prst="rect">
            <a:avLst/>
          </a:prstGeom>
        </p:spPr>
      </p:pic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165866" y="1392351"/>
            <a:ext cx="3912336" cy="2242073"/>
          </a:xfrm>
        </p:spPr>
        <p:txBody>
          <a:bodyPr>
            <a:normAutofit/>
          </a:bodyPr>
          <a:lstStyle>
            <a:lvl1pPr algn="r">
              <a:defRPr sz="5400" b="1">
                <a:solidFill>
                  <a:srgbClr val="006B3A"/>
                </a:solidFill>
                <a:latin typeface="+mn-lt"/>
              </a:defRPr>
            </a:lvl1pPr>
          </a:lstStyle>
          <a:p>
            <a:r>
              <a:rPr lang="en-US"/>
              <a:t>THANK YOU</a:t>
            </a:r>
            <a:endParaRPr lang="en-ID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522" y="126521"/>
            <a:ext cx="1345720" cy="607024"/>
          </a:xfrm>
          <a:prstGeom prst="rect">
            <a:avLst/>
          </a:prstGeom>
        </p:spPr>
      </p:pic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70890" y="6405512"/>
            <a:ext cx="449826" cy="35908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3A70A1-A3CD-47F1-A841-54FD320B0B0A}" type="slidenum">
              <a:rPr lang="en-ID" smtClean="0"/>
              <a:t>‹#›</a:t>
            </a:fld>
            <a:endParaRPr lang="en-ID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6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D"/>
          </a:p>
        </p:txBody>
      </p:sp>
      <p:graphicFrame>
        <p:nvGraphicFramePr>
          <p:cNvPr id="7" name="think-cell data - do not delete" hidden="1"/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7620" imgH="7620" progId="TCLayout.ActiveDocument.1">
                  <p:embed/>
                </p:oleObj>
              </mc:Choice>
              <mc:Fallback>
                <p:oleObj name="think-cell Slide" r:id="rId11" imgW="7620" imgH="7620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70890" y="6405512"/>
            <a:ext cx="449826" cy="35908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3A70A1-A3CD-47F1-A841-54FD320B0B0A}" type="slidenum">
              <a:rPr lang="en-ID" smtClean="0"/>
              <a:t>‹#›</a:t>
            </a:fld>
            <a:endParaRPr lang="en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microsoft.com/office/2007/relationships/hdphoto" Target="../media/hdphoto1.wdp"/><Relationship Id="rId7" Type="http://schemas.openxmlformats.org/officeDocument/2006/relationships/image" Target="../media/image11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svgsilh.com/image/158934.html" TargetMode="Externa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47C6F3E9-DEBC-DB47-4846-1B73ECA2CF93}"/>
              </a:ext>
            </a:extLst>
          </p:cNvPr>
          <p:cNvSpPr txBox="1"/>
          <p:nvPr/>
        </p:nvSpPr>
        <p:spPr>
          <a:xfrm>
            <a:off x="332509" y="1571100"/>
            <a:ext cx="4080091" cy="135421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endParaRPr dirty="0"/>
          </a:p>
          <a:p>
            <a:pPr algn="ctr">
              <a:defRPr sz="4000" b="1"/>
            </a:pPr>
            <a:r>
              <a:rPr lang="en-ID" dirty="0"/>
              <a:t>IT TEAM REPORT</a:t>
            </a:r>
            <a:endParaRPr dirty="0"/>
          </a:p>
          <a:p>
            <a:pPr algn="ctr">
              <a:defRPr sz="2400"/>
            </a:pPr>
            <a:r>
              <a:rPr dirty="0" err="1"/>
              <a:t>Periode</a:t>
            </a:r>
            <a:r>
              <a:rPr dirty="0"/>
              <a:t>: </a:t>
            </a:r>
            <a:r>
              <a:rPr lang="en-ID" dirty="0"/>
              <a:t>Oktober</a:t>
            </a:r>
            <a:r>
              <a:rPr dirty="0"/>
              <a:t> 2025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1EECA9-68DA-BE03-9682-6DE6521422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85C20F-FE64-1B00-B8BD-879469C124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D3A70A1-A3CD-47F1-A841-54FD320B0B0A}" type="slidenum">
              <a:rPr lang="en-ID" smtClean="0"/>
              <a:t>2</a:t>
            </a:fld>
            <a:endParaRPr lang="en-ID"/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39081B44-D29B-8B60-2F49-C7D59C530D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4765" y="6099431"/>
            <a:ext cx="1127235" cy="6974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717FFD87-DE30-F529-DC16-7EE861AC65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ID" dirty="0"/>
              <a:t>INSTALL BASE</a:t>
            </a:r>
            <a:endParaRPr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D4AEAD3-9DF5-4A11-016F-960DB7C0F9E6}"/>
              </a:ext>
            </a:extLst>
          </p:cNvPr>
          <p:cNvSpPr txBox="1"/>
          <p:nvPr/>
        </p:nvSpPr>
        <p:spPr>
          <a:xfrm>
            <a:off x="564776" y="1344706"/>
            <a:ext cx="2796989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  <a:ext uri="{837473B0-CC2E-450A-ABE3-18F120FF3D39}">
                      <a1611:picAttrSrcUrl xmlns:a1611="http://schemas.microsoft.com/office/drawing/2016/11/main" r:id="rId6"/>
                    </a:ext>
                  </a:extLst>
                </a:blip>
              </a:buBlip>
            </a:pPr>
            <a:r>
              <a:rPr lang="pt-BR" sz="2000" dirty="0"/>
              <a:t>RS Horas</a:t>
            </a:r>
          </a:p>
          <a:p>
            <a:pPr marL="285750" indent="-285750"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  <a:ext uri="{837473B0-CC2E-450A-ABE3-18F120FF3D39}">
                      <a1611:picAttrSrcUrl xmlns:a1611="http://schemas.microsoft.com/office/drawing/2016/11/main" r:id="rId6"/>
                    </a:ext>
                  </a:extLst>
                </a:blip>
              </a:buBlip>
            </a:pPr>
            <a:r>
              <a:rPr lang="pt-BR" sz="2000" dirty="0"/>
              <a:t>RSI Jemur Sari</a:t>
            </a:r>
          </a:p>
          <a:p>
            <a:pPr marL="285750" indent="-285750"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  <a:ext uri="{837473B0-CC2E-450A-ABE3-18F120FF3D39}">
                      <a1611:picAttrSrcUrl xmlns:a1611="http://schemas.microsoft.com/office/drawing/2016/11/main" r:id="rId6"/>
                    </a:ext>
                  </a:extLst>
                </a:blip>
              </a:buBlip>
            </a:pPr>
            <a:r>
              <a:rPr lang="en-ID" sz="2000" dirty="0"/>
              <a:t>RS Altius</a:t>
            </a:r>
          </a:p>
          <a:p>
            <a:pPr marL="285750" indent="-285750"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  <a:ext uri="{837473B0-CC2E-450A-ABE3-18F120FF3D39}">
                      <a1611:picAttrSrcUrl xmlns:a1611="http://schemas.microsoft.com/office/drawing/2016/11/main" r:id="rId6"/>
                    </a:ext>
                  </a:extLst>
                </a:blip>
              </a:buBlip>
            </a:pPr>
            <a:r>
              <a:rPr lang="en-ID" sz="2000" dirty="0"/>
              <a:t>RS AZRA</a:t>
            </a:r>
          </a:p>
          <a:p>
            <a:pPr marL="285750" indent="-285750"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  <a:ext uri="{837473B0-CC2E-450A-ABE3-18F120FF3D39}">
                      <a1611:picAttrSrcUrl xmlns:a1611="http://schemas.microsoft.com/office/drawing/2016/11/main" r:id="rId6"/>
                    </a:ext>
                  </a:extLst>
                </a:blip>
              </a:buBlip>
            </a:pPr>
            <a:r>
              <a:rPr lang="en-ID" sz="2000" dirty="0"/>
              <a:t>RS BMC</a:t>
            </a:r>
          </a:p>
          <a:p>
            <a:pPr marL="285750" indent="-285750"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  <a:ext uri="{837473B0-CC2E-450A-ABE3-18F120FF3D39}">
                      <a1611:picAttrSrcUrl xmlns:a1611="http://schemas.microsoft.com/office/drawing/2016/11/main" r:id="rId6"/>
                    </a:ext>
                  </a:extLst>
                </a:blip>
              </a:buBlip>
            </a:pPr>
            <a:r>
              <a:rPr lang="en-ID" sz="2000" dirty="0"/>
              <a:t>RSI </a:t>
            </a:r>
            <a:r>
              <a:rPr lang="en-ID" sz="2000" dirty="0" err="1"/>
              <a:t>Pondok</a:t>
            </a:r>
            <a:r>
              <a:rPr lang="en-ID" sz="2000" dirty="0"/>
              <a:t> Kopi</a:t>
            </a:r>
          </a:p>
          <a:p>
            <a:pPr marL="285750" indent="-285750"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  <a:ext uri="{837473B0-CC2E-450A-ABE3-18F120FF3D39}">
                      <a1611:picAttrSrcUrl xmlns:a1611="http://schemas.microsoft.com/office/drawing/2016/11/main" r:id="rId6"/>
                    </a:ext>
                  </a:extLst>
                </a:blip>
              </a:buBlip>
            </a:pPr>
            <a:r>
              <a:rPr lang="en-ID" sz="2000" dirty="0"/>
              <a:t>RS RKZ</a:t>
            </a:r>
          </a:p>
          <a:p>
            <a:pPr marL="285750" indent="-285750"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  <a:ext uri="{837473B0-CC2E-450A-ABE3-18F120FF3D39}">
                      <a1611:picAttrSrcUrl xmlns:a1611="http://schemas.microsoft.com/office/drawing/2016/11/main" r:id="rId6"/>
                    </a:ext>
                  </a:extLst>
                </a:blip>
              </a:buBlip>
            </a:pPr>
            <a:r>
              <a:rPr lang="en-ID" sz="2000" dirty="0"/>
              <a:t>RSUD Taman Sari</a:t>
            </a:r>
          </a:p>
          <a:p>
            <a:pPr marL="285750" indent="-285750"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  <a:ext uri="{837473B0-CC2E-450A-ABE3-18F120FF3D39}">
                      <a1611:picAttrSrcUrl xmlns:a1611="http://schemas.microsoft.com/office/drawing/2016/11/main" r:id="rId6"/>
                    </a:ext>
                  </a:extLst>
                </a:blip>
              </a:buBlip>
            </a:pPr>
            <a:r>
              <a:rPr lang="en-ID" sz="2000" dirty="0"/>
              <a:t>RS Bunda Thamrin</a:t>
            </a:r>
          </a:p>
          <a:p>
            <a:pPr marL="285750" indent="-285750"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  <a:ext uri="{837473B0-CC2E-450A-ABE3-18F120FF3D39}">
                      <a1611:picAttrSrcUrl xmlns:a1611="http://schemas.microsoft.com/office/drawing/2016/11/main" r:id="rId6"/>
                    </a:ext>
                  </a:extLst>
                </a:blip>
              </a:buBlip>
            </a:pPr>
            <a:r>
              <a:rPr lang="en-ID" sz="2000" dirty="0"/>
              <a:t>RS Puri </a:t>
            </a:r>
            <a:r>
              <a:rPr lang="en-ID" sz="2000" dirty="0" err="1"/>
              <a:t>Cinere</a:t>
            </a:r>
            <a:endParaRPr lang="en-ID" sz="20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EB5F807-02B9-EEFA-B736-D345F219089F}"/>
              </a:ext>
            </a:extLst>
          </p:cNvPr>
          <p:cNvSpPr txBox="1"/>
          <p:nvPr/>
        </p:nvSpPr>
        <p:spPr>
          <a:xfrm>
            <a:off x="4204445" y="1344703"/>
            <a:ext cx="2796989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  <a:ext uri="{837473B0-CC2E-450A-ABE3-18F120FF3D39}">
                      <a1611:picAttrSrcUrl xmlns:a1611="http://schemas.microsoft.com/office/drawing/2016/11/main" r:id="rId6"/>
                    </a:ext>
                  </a:extLst>
                </a:blip>
              </a:buBlip>
            </a:pPr>
            <a:r>
              <a:rPr lang="pt-BR" sz="2000" dirty="0"/>
              <a:t>RS Bayukarta</a:t>
            </a:r>
          </a:p>
          <a:p>
            <a:pPr marL="285750" indent="-285750"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  <a:ext uri="{837473B0-CC2E-450A-ABE3-18F120FF3D39}">
                      <a1611:picAttrSrcUrl xmlns:a1611="http://schemas.microsoft.com/office/drawing/2016/11/main" r:id="rId6"/>
                    </a:ext>
                  </a:extLst>
                </a:blip>
              </a:buBlip>
            </a:pPr>
            <a:r>
              <a:rPr lang="pt-BR" sz="2000" dirty="0"/>
              <a:t>RS Imelda</a:t>
            </a:r>
          </a:p>
          <a:p>
            <a:pPr marL="285750" indent="-285750"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  <a:ext uri="{837473B0-CC2E-450A-ABE3-18F120FF3D39}">
                      <a1611:picAttrSrcUrl xmlns:a1611="http://schemas.microsoft.com/office/drawing/2016/11/main" r:id="rId6"/>
                    </a:ext>
                  </a:extLst>
                </a:blip>
              </a:buBlip>
            </a:pPr>
            <a:r>
              <a:rPr lang="pt-BR" sz="2000" dirty="0"/>
              <a:t>Klinik DYM</a:t>
            </a:r>
          </a:p>
          <a:p>
            <a:pPr marL="285750" indent="-285750"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  <a:ext uri="{837473B0-CC2E-450A-ABE3-18F120FF3D39}">
                      <a1611:picAttrSrcUrl xmlns:a1611="http://schemas.microsoft.com/office/drawing/2016/11/main" r:id="rId6"/>
                    </a:ext>
                  </a:extLst>
                </a:blip>
              </a:buBlip>
            </a:pPr>
            <a:r>
              <a:rPr lang="pt-BR" sz="2000" dirty="0"/>
              <a:t>RSUD Husada Prima</a:t>
            </a:r>
          </a:p>
          <a:p>
            <a:pPr marL="285750" indent="-285750"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  <a:ext uri="{837473B0-CC2E-450A-ABE3-18F120FF3D39}">
                      <a1611:picAttrSrcUrl xmlns:a1611="http://schemas.microsoft.com/office/drawing/2016/11/main" r:id="rId6"/>
                    </a:ext>
                  </a:extLst>
                </a:blip>
              </a:buBlip>
            </a:pPr>
            <a:r>
              <a:rPr lang="pt-BR" sz="2000" dirty="0"/>
              <a:t>RSPAD Gatot Soebroto</a:t>
            </a:r>
          </a:p>
          <a:p>
            <a:pPr marL="285750" indent="-285750"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  <a:ext uri="{837473B0-CC2E-450A-ABE3-18F120FF3D39}">
                      <a1611:picAttrSrcUrl xmlns:a1611="http://schemas.microsoft.com/office/drawing/2016/11/main" r:id="rId6"/>
                    </a:ext>
                  </a:extLst>
                </a:blip>
              </a:buBlip>
            </a:pPr>
            <a:r>
              <a:rPr lang="pt-BR" sz="2000" dirty="0"/>
              <a:t>RSUD Husada Prima</a:t>
            </a:r>
          </a:p>
          <a:p>
            <a:pPr marL="285750" indent="-285750"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  <a:ext uri="{837473B0-CC2E-450A-ABE3-18F120FF3D39}">
                      <a1611:picAttrSrcUrl xmlns:a1611="http://schemas.microsoft.com/office/drawing/2016/11/main" r:id="rId6"/>
                    </a:ext>
                  </a:extLst>
                </a:blip>
              </a:buBlip>
            </a:pPr>
            <a:r>
              <a:rPr lang="pt-BR" sz="2000" dirty="0"/>
              <a:t>RS AR Bunda</a:t>
            </a:r>
          </a:p>
          <a:p>
            <a:pPr marL="285750" indent="-285750"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  <a:ext uri="{837473B0-CC2E-450A-ABE3-18F120FF3D39}">
                      <a1611:picAttrSrcUrl xmlns:a1611="http://schemas.microsoft.com/office/drawing/2016/11/main" r:id="rId6"/>
                    </a:ext>
                  </a:extLst>
                </a:blip>
              </a:buBlip>
            </a:pPr>
            <a:r>
              <a:rPr lang="pt-BR" sz="2000" dirty="0"/>
              <a:t>RSUD Langsa ACEH</a:t>
            </a:r>
          </a:p>
          <a:p>
            <a:pPr marL="285750" indent="-285750"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  <a:ext uri="{837473B0-CC2E-450A-ABE3-18F120FF3D39}">
                      <a1611:picAttrSrcUrl xmlns:a1611="http://schemas.microsoft.com/office/drawing/2016/11/main" r:id="rId6"/>
                    </a:ext>
                  </a:extLst>
                </a:blip>
              </a:buBlip>
            </a:pPr>
            <a:r>
              <a:rPr lang="pt-BR" sz="2000" dirty="0"/>
              <a:t>RS Permata Pamulang</a:t>
            </a:r>
          </a:p>
          <a:p>
            <a:pPr marL="285750" indent="-285750"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  <a:ext uri="{837473B0-CC2E-450A-ABE3-18F120FF3D39}">
                      <a1611:picAttrSrcUrl xmlns:a1611="http://schemas.microsoft.com/office/drawing/2016/11/main" r:id="rId6"/>
                    </a:ext>
                  </a:extLst>
                </a:blip>
              </a:buBlip>
            </a:pPr>
            <a:r>
              <a:rPr lang="pt-BR" sz="2000" dirty="0"/>
              <a:t>RSUD Aceh Tamia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0F04BFB-D12C-E16C-A7E1-9FCD2D2E9671}"/>
              </a:ext>
            </a:extLst>
          </p:cNvPr>
          <p:cNvSpPr txBox="1"/>
          <p:nvPr/>
        </p:nvSpPr>
        <p:spPr>
          <a:xfrm>
            <a:off x="7960655" y="1345918"/>
            <a:ext cx="2796989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Blip>
                <a:blip r:embed="rId7"/>
              </a:buBlip>
            </a:pPr>
            <a:r>
              <a:rPr lang="pt-BR" sz="2000" dirty="0"/>
              <a:t>RSUD Tanjung Priok</a:t>
            </a:r>
          </a:p>
          <a:p>
            <a:pPr marL="342900" indent="-342900">
              <a:buBlip>
                <a:blip r:embed="rId7"/>
              </a:buBlip>
            </a:pPr>
            <a:r>
              <a:rPr lang="pt-BR" sz="2000" dirty="0"/>
              <a:t>RSU Widodo</a:t>
            </a:r>
          </a:p>
          <a:p>
            <a:pPr marL="342900" indent="-342900">
              <a:buBlip>
                <a:blip r:embed="rId7"/>
              </a:buBlip>
            </a:pPr>
            <a:r>
              <a:rPr lang="pt-BR" sz="2000" dirty="0"/>
              <a:t>RS Bidadari Medan</a:t>
            </a:r>
          </a:p>
          <a:p>
            <a:pPr marL="342900" indent="-342900">
              <a:buBlip>
                <a:blip r:embed="rId7"/>
              </a:buBlip>
            </a:pPr>
            <a:r>
              <a:rPr lang="pt-BR" sz="2000" dirty="0"/>
              <a:t>RSUD Blambangan</a:t>
            </a:r>
          </a:p>
          <a:p>
            <a:pPr marL="342900" indent="-342900">
              <a:buBlip>
                <a:blip r:embed="rId7"/>
              </a:buBlip>
            </a:pPr>
            <a:r>
              <a:rPr lang="pt-BR" sz="2000" dirty="0"/>
              <a:t>RSUD Genteng</a:t>
            </a:r>
          </a:p>
          <a:p>
            <a:pPr marL="342900" indent="-342900">
              <a:buBlip>
                <a:blip r:embed="rId7"/>
              </a:buBlip>
            </a:pPr>
            <a:r>
              <a:rPr lang="pt-BR" sz="2000" dirty="0"/>
              <a:t>RSUD Pademangan</a:t>
            </a:r>
          </a:p>
          <a:p>
            <a:pPr marL="342900" indent="-342900">
              <a:buBlip>
                <a:blip r:embed="rId7"/>
              </a:buBlip>
            </a:pPr>
            <a:r>
              <a:rPr lang="pt-BR" sz="2000" dirty="0"/>
              <a:t>RSU Ganesha</a:t>
            </a:r>
          </a:p>
          <a:p>
            <a:pPr marL="342900" indent="-342900">
              <a:buBlip>
                <a:blip r:embed="rId7"/>
              </a:buBlip>
            </a:pPr>
            <a:r>
              <a:rPr lang="pt-BR" sz="2000" dirty="0"/>
              <a:t>RS Jiwa Lembang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9B19BF8-EE73-A5B8-EE78-BCEA1951A7FA}"/>
              </a:ext>
            </a:extLst>
          </p:cNvPr>
          <p:cNvSpPr txBox="1"/>
          <p:nvPr/>
        </p:nvSpPr>
        <p:spPr>
          <a:xfrm>
            <a:off x="7960655" y="4514802"/>
            <a:ext cx="279698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b="1" dirty="0"/>
              <a:t>New Order</a:t>
            </a:r>
          </a:p>
          <a:p>
            <a:pPr marL="342900" indent="-342900">
              <a:buBlip>
                <a:blip r:embed="rId7"/>
              </a:buBlip>
            </a:pPr>
            <a:r>
              <a:rPr lang="pt-BR" sz="2000" dirty="0"/>
              <a:t>RS Bidadari Aceh</a:t>
            </a:r>
          </a:p>
          <a:p>
            <a:pPr marL="342900" indent="-342900">
              <a:buBlip>
                <a:blip r:embed="rId7"/>
              </a:buBlip>
            </a:pPr>
            <a:r>
              <a:rPr lang="pt-BR" sz="2000" dirty="0"/>
              <a:t>RS Panti Wilasa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988D3B4-B00E-3F76-9673-C4581ED8F05D}"/>
              </a:ext>
            </a:extLst>
          </p:cNvPr>
          <p:cNvSpPr txBox="1"/>
          <p:nvPr/>
        </p:nvSpPr>
        <p:spPr>
          <a:xfrm>
            <a:off x="564776" y="5176522"/>
            <a:ext cx="279698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b="1" dirty="0"/>
              <a:t>Simbol Installasi:</a:t>
            </a:r>
          </a:p>
          <a:p>
            <a:pPr marL="285750" indent="-285750"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  <a:ext uri="{837473B0-CC2E-450A-ABE3-18F120FF3D39}">
                      <a1611:picAttrSrcUrl xmlns:a1611="http://schemas.microsoft.com/office/drawing/2016/11/main" r:id="rId6"/>
                    </a:ext>
                  </a:extLst>
                </a:blip>
              </a:buBlip>
            </a:pPr>
            <a:r>
              <a:rPr lang="pt-BR" sz="2000" dirty="0"/>
              <a:t>Elva PACS (Techhiem)</a:t>
            </a:r>
          </a:p>
          <a:p>
            <a:pPr marL="342900" indent="-342900">
              <a:buBlip>
                <a:blip r:embed="rId7"/>
              </a:buBlip>
            </a:pPr>
            <a:r>
              <a:rPr lang="pt-BR" sz="2000" dirty="0"/>
              <a:t>  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669FB071-8D65-FF0B-D244-96FF870812F2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9224" y="5853952"/>
            <a:ext cx="1290917" cy="2723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22812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8AC443-7368-38D4-1AD7-5DB3F8BCE4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FA4C0AB4-5000-42C0-2D8D-AA4DB29B0F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87148" y="6084734"/>
            <a:ext cx="449826" cy="359082"/>
          </a:xfrm>
        </p:spPr>
        <p:txBody>
          <a:bodyPr/>
          <a:lstStyle/>
          <a:p>
            <a:fld id="{0D3A70A1-A3CD-47F1-A841-54FD320B0B0A}" type="slidenum">
              <a:rPr lang="en-ID" smtClean="0"/>
              <a:t>3</a:t>
            </a:fld>
            <a:endParaRPr lang="en-ID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9B7127F-1326-02E9-140E-B2D81867A0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4765" y="6099431"/>
            <a:ext cx="1127235" cy="6974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8FFB8671-204A-4B51-AB19-9945B8DB9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ID" dirty="0"/>
              <a:t>RUNNING WARRANTY</a:t>
            </a:r>
            <a:endParaRPr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DB7DAEAA-BF41-466A-3434-3798E77DFFD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4029825"/>
              </p:ext>
            </p:extLst>
          </p:nvPr>
        </p:nvGraphicFramePr>
        <p:xfrm>
          <a:off x="2250142" y="1230853"/>
          <a:ext cx="6340692" cy="31550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3174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4931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2414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3857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9691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65775">
                <a:tc>
                  <a:txBody>
                    <a:bodyPr/>
                    <a:lstStyle/>
                    <a:p>
                      <a:pPr>
                        <a:defRPr b="1"/>
                      </a:pPr>
                      <a:r>
                        <a:rPr sz="1400" dirty="0"/>
                        <a:t>N</a:t>
                      </a:r>
                      <a:r>
                        <a:rPr lang="en-ID" sz="1400" dirty="0"/>
                        <a:t>O</a:t>
                      </a:r>
                      <a:endParaRPr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MA RUMAH SAKI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RODUC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TART WARRANT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OVER WARRANTY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5775">
                <a:tc>
                  <a:txBody>
                    <a:bodyPr/>
                    <a:lstStyle/>
                    <a:p>
                      <a:pPr algn="ctr">
                        <a:defRPr b="1"/>
                      </a:pPr>
                      <a:r>
                        <a:rPr lang="en-ID" sz="1000" b="0" dirty="0"/>
                        <a:t>1</a:t>
                      </a:r>
                      <a:endParaRPr sz="10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S AR Bund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lva PAC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/02/20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Tahun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96698656"/>
                  </a:ext>
                </a:extLst>
              </a:tr>
              <a:tr h="280930">
                <a:tc>
                  <a:txBody>
                    <a:bodyPr/>
                    <a:lstStyle/>
                    <a:p>
                      <a:pPr algn="ctr"/>
                      <a:r>
                        <a:rPr lang="en-ID" sz="1000" dirty="0"/>
                        <a:t>2</a:t>
                      </a:r>
                      <a:endParaRPr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SUD Langsa ACE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lva PAC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/03/20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Tahun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7161">
                <a:tc>
                  <a:txBody>
                    <a:bodyPr/>
                    <a:lstStyle/>
                    <a:p>
                      <a:pPr algn="ctr"/>
                      <a:r>
                        <a:rPr lang="en-ID" sz="1000" dirty="0"/>
                        <a:t>3</a:t>
                      </a:r>
                      <a:endParaRPr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SUD Aceh Tamiang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lva PAC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/08/20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tahun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6420">
                <a:tc>
                  <a:txBody>
                    <a:bodyPr/>
                    <a:lstStyle/>
                    <a:p>
                      <a:pPr algn="ctr"/>
                      <a:r>
                        <a:rPr lang="en-ID" sz="1000" dirty="0"/>
                        <a:t>4</a:t>
                      </a:r>
                      <a:endParaRPr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SU Widod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lvasoft PAC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/08/20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Tahun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49652789"/>
                  </a:ext>
                </a:extLst>
              </a:tr>
              <a:tr h="256420">
                <a:tc>
                  <a:txBody>
                    <a:bodyPr/>
                    <a:lstStyle/>
                    <a:p>
                      <a:pPr algn="ctr"/>
                      <a:r>
                        <a:rPr lang="en-ID" sz="1000" dirty="0"/>
                        <a:t>5</a:t>
                      </a:r>
                      <a:endParaRPr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S Bidadari Meda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lvasoft PAC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/09/20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Tahun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6420">
                <a:tc>
                  <a:txBody>
                    <a:bodyPr/>
                    <a:lstStyle/>
                    <a:p>
                      <a:pPr algn="ctr"/>
                      <a:r>
                        <a:rPr lang="en-ID" sz="1000" dirty="0"/>
                        <a:t>6</a:t>
                      </a:r>
                      <a:endParaRPr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SUD </a:t>
                      </a:r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lambangan</a:t>
                      </a:r>
                      <a:endParaRPr lang="en-ID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lvasoft PAC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/10/20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Tahun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04915930"/>
                  </a:ext>
                </a:extLst>
              </a:tr>
              <a:tr h="256420">
                <a:tc>
                  <a:txBody>
                    <a:bodyPr/>
                    <a:lstStyle/>
                    <a:p>
                      <a:pPr algn="ctr"/>
                      <a:r>
                        <a:rPr lang="en-ID" sz="1000" dirty="0"/>
                        <a:t>7</a:t>
                      </a:r>
                      <a:endParaRPr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SUD Genteng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lvasoft PAC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/10/20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Tahun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6420">
                <a:tc>
                  <a:txBody>
                    <a:bodyPr/>
                    <a:lstStyle/>
                    <a:p>
                      <a:pPr algn="ctr"/>
                      <a:r>
                        <a:rPr lang="en-ID" sz="1000" dirty="0"/>
                        <a:t>8</a:t>
                      </a:r>
                      <a:endParaRPr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SUD Pademanga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lvasoft PAC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/11/20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Tahun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68679158"/>
                  </a:ext>
                </a:extLst>
              </a:tr>
              <a:tr h="256420">
                <a:tc>
                  <a:txBody>
                    <a:bodyPr/>
                    <a:lstStyle/>
                    <a:p>
                      <a:pPr algn="ctr"/>
                      <a:r>
                        <a:rPr lang="en-ID" sz="1000" dirty="0"/>
                        <a:t>9</a:t>
                      </a:r>
                      <a:endParaRPr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SU Ganes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lvasoft PAC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/11/20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Tahun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11805588"/>
                  </a:ext>
                </a:extLst>
              </a:tr>
              <a:tr h="256420">
                <a:tc>
                  <a:txBody>
                    <a:bodyPr/>
                    <a:lstStyle/>
                    <a:p>
                      <a:pPr algn="ctr"/>
                      <a:r>
                        <a:rPr lang="en-ID" sz="1000" dirty="0"/>
                        <a:t>10</a:t>
                      </a:r>
                      <a:endParaRPr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S Jiwa Lembang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lvasoft PAC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/11/20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</a:t>
                      </a:r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hun</a:t>
                      </a:r>
                      <a:endParaRPr lang="en-ID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308204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778428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D1531A-2ECB-8A06-FE9E-19A3C6DFCC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6141BD15-72F5-76BC-029B-BB3D459142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87148" y="6084734"/>
            <a:ext cx="449826" cy="359082"/>
          </a:xfrm>
        </p:spPr>
        <p:txBody>
          <a:bodyPr/>
          <a:lstStyle/>
          <a:p>
            <a:fld id="{0D3A70A1-A3CD-47F1-A841-54FD320B0B0A}" type="slidenum">
              <a:rPr lang="en-ID" smtClean="0"/>
              <a:t>4</a:t>
            </a:fld>
            <a:endParaRPr lang="en-ID"/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EA9563EC-B3DD-4C67-39CB-C1A66D8297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4765" y="6099431"/>
            <a:ext cx="1127235" cy="6974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4924F0AA-D9B9-88FE-6503-64ED73FBA7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ID" dirty="0"/>
              <a:t>OUT OF WARRANTY 2025</a:t>
            </a:r>
            <a:endParaRPr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2270CA73-ACA9-932E-3E06-C258B87D7F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2034618"/>
              </p:ext>
            </p:extLst>
          </p:nvPr>
        </p:nvGraphicFramePr>
        <p:xfrm>
          <a:off x="2250142" y="1230853"/>
          <a:ext cx="6340692" cy="469357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3174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4931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2414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3857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9691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65775">
                <a:tc>
                  <a:txBody>
                    <a:bodyPr/>
                    <a:lstStyle/>
                    <a:p>
                      <a:pPr>
                        <a:defRPr b="1"/>
                      </a:pPr>
                      <a:r>
                        <a:rPr sz="1400" dirty="0"/>
                        <a:t>N</a:t>
                      </a:r>
                      <a:r>
                        <a:rPr lang="en-ID" sz="1400" dirty="0"/>
                        <a:t>O</a:t>
                      </a:r>
                      <a:endParaRPr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MA RUMAH SAKI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RODUC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TART WARRANT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OVER WARRANTY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5775">
                <a:tc>
                  <a:txBody>
                    <a:bodyPr/>
                    <a:lstStyle/>
                    <a:p>
                      <a:pPr>
                        <a:defRPr b="1"/>
                      </a:pPr>
                      <a:r>
                        <a:rPr lang="en-ID" sz="1000" b="0" dirty="0"/>
                        <a:t>1</a:t>
                      </a:r>
                      <a:endParaRPr sz="10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S Altiu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lva PAC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/03/20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</a:t>
                      </a:r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hun</a:t>
                      </a:r>
                      <a:endParaRPr lang="en-ID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96698656"/>
                  </a:ext>
                </a:extLst>
              </a:tr>
              <a:tr h="280930">
                <a:tc>
                  <a:txBody>
                    <a:bodyPr/>
                    <a:lstStyle/>
                    <a:p>
                      <a:r>
                        <a:rPr lang="en-ID" sz="1000" dirty="0"/>
                        <a:t>2</a:t>
                      </a:r>
                      <a:endParaRPr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S AZR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lva PAC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/06/20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Tahun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7161">
                <a:tc>
                  <a:txBody>
                    <a:bodyPr/>
                    <a:lstStyle/>
                    <a:p>
                      <a:r>
                        <a:rPr lang="en-ID" sz="1000" dirty="0"/>
                        <a:t>3</a:t>
                      </a:r>
                      <a:endParaRPr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S BM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lva PAC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/11/20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Tahun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6420">
                <a:tc>
                  <a:txBody>
                    <a:bodyPr/>
                    <a:lstStyle/>
                    <a:p>
                      <a:r>
                        <a:rPr lang="en-ID" sz="1000" dirty="0"/>
                        <a:t>4</a:t>
                      </a:r>
                      <a:endParaRPr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SI Pondok Kop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lva PAC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/11/20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Tahun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49652789"/>
                  </a:ext>
                </a:extLst>
              </a:tr>
              <a:tr h="256420">
                <a:tc>
                  <a:txBody>
                    <a:bodyPr/>
                    <a:lstStyle/>
                    <a:p>
                      <a:r>
                        <a:rPr lang="en-ID" sz="1000" dirty="0"/>
                        <a:t>5</a:t>
                      </a:r>
                      <a:endParaRPr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S Bayukart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lva PAC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/11/20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Tahun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6420">
                <a:tc>
                  <a:txBody>
                    <a:bodyPr/>
                    <a:lstStyle/>
                    <a:p>
                      <a:r>
                        <a:rPr lang="en-ID" sz="1000" dirty="0"/>
                        <a:t>6</a:t>
                      </a:r>
                      <a:endParaRPr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S Permata Pamulang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lva PAC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/05/20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tahun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04915930"/>
                  </a:ext>
                </a:extLst>
              </a:tr>
              <a:tr h="256420">
                <a:tc>
                  <a:txBody>
                    <a:bodyPr/>
                    <a:lstStyle/>
                    <a:p>
                      <a:r>
                        <a:rPr lang="en-ID" sz="1000" dirty="0"/>
                        <a:t>7</a:t>
                      </a:r>
                      <a:endParaRPr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S RKZ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lva PAC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/07/20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Tahun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6420">
                <a:tc>
                  <a:txBody>
                    <a:bodyPr/>
                    <a:lstStyle/>
                    <a:p>
                      <a:r>
                        <a:rPr lang="en-ID" sz="1000" dirty="0"/>
                        <a:t>8</a:t>
                      </a:r>
                      <a:endParaRPr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SUD Taman Sar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lva PAC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/09/20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Tahun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68679158"/>
                  </a:ext>
                </a:extLst>
              </a:tr>
              <a:tr h="256420">
                <a:tc>
                  <a:txBody>
                    <a:bodyPr/>
                    <a:lstStyle/>
                    <a:p>
                      <a:r>
                        <a:rPr lang="en-ID" sz="1000" dirty="0"/>
                        <a:t>9</a:t>
                      </a:r>
                      <a:endParaRPr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S Bunda Thamri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lva PAC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/10/20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Tahun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11805588"/>
                  </a:ext>
                </a:extLst>
              </a:tr>
              <a:tr h="256420">
                <a:tc>
                  <a:txBody>
                    <a:bodyPr/>
                    <a:lstStyle/>
                    <a:p>
                      <a:r>
                        <a:rPr lang="en-ID" sz="1000" dirty="0"/>
                        <a:t>10</a:t>
                      </a:r>
                      <a:endParaRPr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S Puri </a:t>
                      </a:r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inere</a:t>
                      </a:r>
                      <a:endParaRPr lang="en-ID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lva PAC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/10/20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tahun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3082049"/>
                  </a:ext>
                </a:extLst>
              </a:tr>
              <a:tr h="256420">
                <a:tc>
                  <a:txBody>
                    <a:bodyPr/>
                    <a:lstStyle/>
                    <a:p>
                      <a:r>
                        <a:rPr lang="en-ID" sz="1000" dirty="0"/>
                        <a:t>11</a:t>
                      </a:r>
                      <a:endParaRPr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S Imeld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lva PAC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/12/20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Tahun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36319116"/>
                  </a:ext>
                </a:extLst>
              </a:tr>
              <a:tr h="256420">
                <a:tc>
                  <a:txBody>
                    <a:bodyPr/>
                    <a:lstStyle/>
                    <a:p>
                      <a:r>
                        <a:rPr lang="en-ID" sz="1000" dirty="0"/>
                        <a:t>12</a:t>
                      </a:r>
                      <a:endParaRPr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linik DY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lva PAC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/12/20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Tahun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1589217"/>
                  </a:ext>
                </a:extLst>
              </a:tr>
              <a:tr h="256420">
                <a:tc>
                  <a:txBody>
                    <a:bodyPr/>
                    <a:lstStyle/>
                    <a:p>
                      <a:r>
                        <a:rPr lang="en-ID" sz="1000" dirty="0"/>
                        <a:t>13</a:t>
                      </a:r>
                      <a:endParaRPr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SUD Husada Prim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lva PAC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/12/20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Tahun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86768779"/>
                  </a:ext>
                </a:extLst>
              </a:tr>
              <a:tr h="256420">
                <a:tc>
                  <a:txBody>
                    <a:bodyPr/>
                    <a:lstStyle/>
                    <a:p>
                      <a:r>
                        <a:rPr lang="en-ID" sz="1000" dirty="0"/>
                        <a:t>14</a:t>
                      </a:r>
                      <a:endParaRPr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SUD Tanjung Prio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lva PAC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/12/20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tahun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0432804"/>
                  </a:ext>
                </a:extLst>
              </a:tr>
              <a:tr h="256420">
                <a:tc>
                  <a:txBody>
                    <a:bodyPr/>
                    <a:lstStyle/>
                    <a:p>
                      <a:r>
                        <a:rPr lang="en-ID" sz="1000" dirty="0"/>
                        <a:t>15</a:t>
                      </a:r>
                      <a:endParaRPr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SPAD Gatot Soebrot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lva PAC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/12/20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Tahun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500365"/>
                  </a:ext>
                </a:extLst>
              </a:tr>
              <a:tr h="256420">
                <a:tc>
                  <a:txBody>
                    <a:bodyPr/>
                    <a:lstStyle/>
                    <a:p>
                      <a:r>
                        <a:rPr lang="en-ID" sz="1000" dirty="0"/>
                        <a:t>16</a:t>
                      </a:r>
                      <a:endParaRPr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SUD Husada Prim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lva PAC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/12/20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</a:t>
                      </a:r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hun</a:t>
                      </a:r>
                      <a:endParaRPr lang="en-ID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899198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597801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EA9F70-C63F-019D-890C-3F2B0AD1BF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4F799376-EC29-4B72-BB24-D74F4A0F3B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87148" y="6084734"/>
            <a:ext cx="449826" cy="359082"/>
          </a:xfrm>
        </p:spPr>
        <p:txBody>
          <a:bodyPr/>
          <a:lstStyle/>
          <a:p>
            <a:fld id="{0D3A70A1-A3CD-47F1-A841-54FD320B0B0A}" type="slidenum">
              <a:rPr lang="en-ID" smtClean="0"/>
              <a:t>5</a:t>
            </a:fld>
            <a:endParaRPr lang="en-ID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CFDD126-98E1-7CC1-F76F-BB94DFF05E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4765" y="6099431"/>
            <a:ext cx="1127235" cy="6974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A8B75B7A-C677-58CC-52F2-964A0BCE40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ID" dirty="0"/>
              <a:t>INSATALL BASE TERBARU</a:t>
            </a:r>
            <a:endParaRPr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5892BDD-6A50-E7FD-FDA8-7627EA49F1BD}"/>
              </a:ext>
            </a:extLst>
          </p:cNvPr>
          <p:cNvSpPr txBox="1"/>
          <p:nvPr/>
        </p:nvSpPr>
        <p:spPr>
          <a:xfrm>
            <a:off x="3115235" y="1490008"/>
            <a:ext cx="5961530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Blip>
                <a:blip r:embed="rId4"/>
              </a:buBlip>
            </a:pPr>
            <a:r>
              <a:rPr lang="pt-BR" sz="4000" dirty="0"/>
              <a:t> RS Bidadari Aceh</a:t>
            </a:r>
          </a:p>
          <a:p>
            <a:endParaRPr lang="pt-BR" sz="4000" dirty="0"/>
          </a:p>
          <a:p>
            <a:pPr marL="342900" indent="-342900">
              <a:buBlip>
                <a:blip r:embed="rId4"/>
              </a:buBlip>
            </a:pPr>
            <a:r>
              <a:rPr lang="pt-BR" sz="4000" dirty="0"/>
              <a:t> RS Panti Wilasa Semarang</a:t>
            </a:r>
          </a:p>
        </p:txBody>
      </p:sp>
    </p:spTree>
    <p:extLst>
      <p:ext uri="{BB962C8B-B14F-4D97-AF65-F5344CB8AC3E}">
        <p14:creationId xmlns:p14="http://schemas.microsoft.com/office/powerpoint/2010/main" val="40533559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DE207F-BAE7-1C3C-DAEC-E73AEB5751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D28201EE-3372-F7C2-2DA4-46CECBABF8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87148" y="6084734"/>
            <a:ext cx="449826" cy="359082"/>
          </a:xfrm>
        </p:spPr>
        <p:txBody>
          <a:bodyPr/>
          <a:lstStyle/>
          <a:p>
            <a:fld id="{0D3A70A1-A3CD-47F1-A841-54FD320B0B0A}" type="slidenum">
              <a:rPr lang="en-ID" smtClean="0"/>
              <a:t>6</a:t>
            </a:fld>
            <a:endParaRPr lang="en-ID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A0AD800-2284-C3CE-53F6-D489961B2D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4765" y="6099431"/>
            <a:ext cx="1127235" cy="6974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09480EFB-41EE-43DA-F247-7998B21F90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9027460" cy="1143000"/>
          </a:xfrm>
        </p:spPr>
        <p:txBody>
          <a:bodyPr>
            <a:normAutofit/>
          </a:bodyPr>
          <a:lstStyle/>
          <a:p>
            <a:r>
              <a:rPr lang="en-ID" dirty="0"/>
              <a:t>UPDATE INSTALLASI ELVASOFT TERBARU</a:t>
            </a:r>
            <a:endParaRPr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DDCDD45-9C93-B153-FE69-EC315922768C}"/>
              </a:ext>
            </a:extLst>
          </p:cNvPr>
          <p:cNvSpPr txBox="1"/>
          <p:nvPr/>
        </p:nvSpPr>
        <p:spPr>
          <a:xfrm>
            <a:off x="457200" y="1417638"/>
            <a:ext cx="4679576" cy="34778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Blip>
                <a:blip r:embed="rId4"/>
              </a:buBlip>
            </a:pPr>
            <a:r>
              <a:rPr lang="pt-BR" sz="2000" b="1" dirty="0"/>
              <a:t>RSU WIDODO NGAWI</a:t>
            </a:r>
          </a:p>
          <a:p>
            <a:r>
              <a:rPr lang="pt-BR" sz="2000" dirty="0"/>
              <a:t>Progress: </a:t>
            </a:r>
          </a:p>
          <a:p>
            <a:endParaRPr lang="pt-BR" sz="2000" dirty="0"/>
          </a:p>
          <a:p>
            <a:pPr marL="342900" indent="-342900">
              <a:buBlip>
                <a:blip r:embed="rId4"/>
              </a:buBlip>
            </a:pPr>
            <a:r>
              <a:rPr lang="pt-BR" sz="2000" b="1" dirty="0"/>
              <a:t>RS BIDADARI MEDAN</a:t>
            </a:r>
          </a:p>
          <a:p>
            <a:r>
              <a:rPr lang="pt-BR" sz="2000" dirty="0"/>
              <a:t>Progress: </a:t>
            </a:r>
          </a:p>
          <a:p>
            <a:r>
              <a:rPr lang="pt-BR" sz="2000" dirty="0"/>
              <a:t>SIMRS harus memisahkan order jika ada 2 pemeriksaan dalam 1 pasien</a:t>
            </a:r>
          </a:p>
          <a:p>
            <a:endParaRPr lang="pt-BR" sz="2000" dirty="0"/>
          </a:p>
          <a:p>
            <a:pPr marL="342900" indent="-342900">
              <a:buBlip>
                <a:blip r:embed="rId4"/>
              </a:buBlip>
            </a:pPr>
            <a:r>
              <a:rPr lang="pt-BR" sz="2000" b="1" dirty="0"/>
              <a:t>RSUD GENTENG</a:t>
            </a:r>
          </a:p>
          <a:p>
            <a:r>
              <a:rPr lang="pt-BR" sz="2000" dirty="0"/>
              <a:t>Progress: Sudah Go Live</a:t>
            </a:r>
          </a:p>
          <a:p>
            <a:endParaRPr lang="pt-BR" sz="20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941CCA7-5513-DC85-0EB9-547F0A136D1F}"/>
              </a:ext>
            </a:extLst>
          </p:cNvPr>
          <p:cNvSpPr txBox="1"/>
          <p:nvPr/>
        </p:nvSpPr>
        <p:spPr>
          <a:xfrm>
            <a:off x="5441573" y="1417638"/>
            <a:ext cx="4679576" cy="34778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Blip>
                <a:blip r:embed="rId4"/>
              </a:buBlip>
            </a:pPr>
            <a:r>
              <a:rPr lang="pt-BR" sz="2000" b="1" dirty="0"/>
              <a:t>RSUD BLAMBANGAN</a:t>
            </a:r>
          </a:p>
          <a:p>
            <a:r>
              <a:rPr lang="pt-BR" sz="2000" dirty="0"/>
              <a:t>Progress: Sudah Go Live</a:t>
            </a:r>
          </a:p>
          <a:p>
            <a:endParaRPr lang="pt-BR" sz="2000" dirty="0"/>
          </a:p>
          <a:p>
            <a:pPr marL="342900" indent="-342900">
              <a:buBlip>
                <a:blip r:embed="rId4"/>
              </a:buBlip>
            </a:pPr>
            <a:r>
              <a:rPr lang="pt-BR" sz="2000" b="1" dirty="0"/>
              <a:t>RSU GANESHA DENPASAR</a:t>
            </a:r>
          </a:p>
          <a:p>
            <a:r>
              <a:rPr lang="pt-BR" sz="2000" dirty="0"/>
              <a:t>Progress: Tahap Bridging</a:t>
            </a:r>
          </a:p>
          <a:p>
            <a:endParaRPr lang="pt-BR" sz="2000" dirty="0"/>
          </a:p>
          <a:p>
            <a:pPr marL="342900" indent="-342900">
              <a:buBlip>
                <a:blip r:embed="rId4"/>
              </a:buBlip>
            </a:pPr>
            <a:r>
              <a:rPr lang="pt-BR" sz="2000" b="1" dirty="0"/>
              <a:t>RSJ LEMBANG</a:t>
            </a:r>
          </a:p>
          <a:p>
            <a:r>
              <a:rPr lang="pt-BR" sz="2000" dirty="0"/>
              <a:t>Progress: Tahap Bridging</a:t>
            </a:r>
          </a:p>
          <a:p>
            <a:r>
              <a:rPr lang="pt-BR" sz="2000" dirty="0"/>
              <a:t>Rencana tgl 12 Nov, akan ke site untuk pemasangan Workstation dan FU Bridging </a:t>
            </a:r>
          </a:p>
          <a:p>
            <a:endParaRPr lang="pt-BR" sz="2000" dirty="0"/>
          </a:p>
        </p:txBody>
      </p:sp>
    </p:spTree>
    <p:extLst>
      <p:ext uri="{BB962C8B-B14F-4D97-AF65-F5344CB8AC3E}">
        <p14:creationId xmlns:p14="http://schemas.microsoft.com/office/powerpoint/2010/main" val="40357834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ank You</a:t>
            </a:r>
            <a:endParaRPr lang="en-ID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D3A70A1-A3CD-47F1-A841-54FD320B0B0A}" type="slidenum">
              <a:rPr kumimoji="0" lang="en-ID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</a:t>
            </a:fld>
            <a:endParaRPr kumimoji="0" lang="en-ID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7AAF7FA-65C9-46FC-9B28-9E937569A90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051" y="2907039"/>
            <a:ext cx="2880851" cy="1454770"/>
          </a:xfrm>
          <a:prstGeom prst="rect">
            <a:avLst/>
          </a:prstGeom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CDF4F4-EB3B-E5DF-5444-DC1C698C9F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7D26A470-102C-F211-38D0-7243308764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ID" dirty="0"/>
              <a:t>ALL INSTALLASI</a:t>
            </a:r>
            <a:endParaRPr dirty="0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60E267AA-95F1-1EBD-217D-7FBABD1C43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3234374"/>
              </p:ext>
            </p:extLst>
          </p:nvPr>
        </p:nvGraphicFramePr>
        <p:xfrm>
          <a:off x="2133599" y="1174376"/>
          <a:ext cx="7485530" cy="48409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13765">
                  <a:extLst>
                    <a:ext uri="{9D8B030D-6E8A-4147-A177-3AD203B41FA5}">
                      <a16:colId xmlns:a16="http://schemas.microsoft.com/office/drawing/2014/main" val="25413463"/>
                    </a:ext>
                  </a:extLst>
                </a:gridCol>
                <a:gridCol w="1443318">
                  <a:extLst>
                    <a:ext uri="{9D8B030D-6E8A-4147-A177-3AD203B41FA5}">
                      <a16:colId xmlns:a16="http://schemas.microsoft.com/office/drawing/2014/main" val="1502913061"/>
                    </a:ext>
                  </a:extLst>
                </a:gridCol>
                <a:gridCol w="1822728">
                  <a:extLst>
                    <a:ext uri="{9D8B030D-6E8A-4147-A177-3AD203B41FA5}">
                      <a16:colId xmlns:a16="http://schemas.microsoft.com/office/drawing/2014/main" val="608537713"/>
                    </a:ext>
                  </a:extLst>
                </a:gridCol>
                <a:gridCol w="2351302">
                  <a:extLst>
                    <a:ext uri="{9D8B030D-6E8A-4147-A177-3AD203B41FA5}">
                      <a16:colId xmlns:a16="http://schemas.microsoft.com/office/drawing/2014/main" val="3227917707"/>
                    </a:ext>
                  </a:extLst>
                </a:gridCol>
                <a:gridCol w="1554417">
                  <a:extLst>
                    <a:ext uri="{9D8B030D-6E8A-4147-A177-3AD203B41FA5}">
                      <a16:colId xmlns:a16="http://schemas.microsoft.com/office/drawing/2014/main" val="2784006434"/>
                    </a:ext>
                  </a:extLst>
                </a:gridCol>
              </a:tblGrid>
              <a:tr h="161365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 dirty="0">
                          <a:effectLst/>
                        </a:rPr>
                        <a:t>1</a:t>
                      </a:r>
                      <a:endParaRPr lang="en-ID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RS Altius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Elva PACS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01/03/2023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1 Tahun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extLst>
                  <a:ext uri="{0D108BD9-81ED-4DB2-BD59-A6C34878D82A}">
                    <a16:rowId xmlns:a16="http://schemas.microsoft.com/office/drawing/2014/main" val="2748280612"/>
                  </a:ext>
                </a:extLst>
              </a:tr>
              <a:tr h="161365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2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RS AZRA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Elva PACS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01/06/2023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2 Tahun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extLst>
                  <a:ext uri="{0D108BD9-81ED-4DB2-BD59-A6C34878D82A}">
                    <a16:rowId xmlns:a16="http://schemas.microsoft.com/office/drawing/2014/main" val="687633038"/>
                  </a:ext>
                </a:extLst>
              </a:tr>
              <a:tr h="161365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 dirty="0">
                          <a:effectLst/>
                        </a:rPr>
                        <a:t>3</a:t>
                      </a:r>
                      <a:endParaRPr lang="en-ID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ID" sz="1000" u="none" strike="noStrike" dirty="0">
                          <a:effectLst/>
                        </a:rPr>
                        <a:t>RS BMC</a:t>
                      </a:r>
                      <a:endParaRPr lang="en-ID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Elva PACS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01/11/2023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1 Tahun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extLst>
                  <a:ext uri="{0D108BD9-81ED-4DB2-BD59-A6C34878D82A}">
                    <a16:rowId xmlns:a16="http://schemas.microsoft.com/office/drawing/2014/main" val="1580651540"/>
                  </a:ext>
                </a:extLst>
              </a:tr>
              <a:tr h="161365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4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ID" sz="1000" u="none" strike="noStrike" dirty="0">
                          <a:effectLst/>
                        </a:rPr>
                        <a:t>RSI </a:t>
                      </a:r>
                      <a:r>
                        <a:rPr lang="en-ID" sz="1000" u="none" strike="noStrike" dirty="0" err="1">
                          <a:effectLst/>
                        </a:rPr>
                        <a:t>Pondok</a:t>
                      </a:r>
                      <a:r>
                        <a:rPr lang="en-ID" sz="1000" u="none" strike="noStrike" dirty="0">
                          <a:effectLst/>
                        </a:rPr>
                        <a:t> Kopi</a:t>
                      </a:r>
                      <a:endParaRPr lang="en-ID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Elva PACS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01/11/2023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2 Tahun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extLst>
                  <a:ext uri="{0D108BD9-81ED-4DB2-BD59-A6C34878D82A}">
                    <a16:rowId xmlns:a16="http://schemas.microsoft.com/office/drawing/2014/main" val="4161998237"/>
                  </a:ext>
                </a:extLst>
              </a:tr>
              <a:tr h="161365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5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RS RKZ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Elva PACS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01/07/2024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1 Tahun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extLst>
                  <a:ext uri="{0D108BD9-81ED-4DB2-BD59-A6C34878D82A}">
                    <a16:rowId xmlns:a16="http://schemas.microsoft.com/office/drawing/2014/main" val="777914491"/>
                  </a:ext>
                </a:extLst>
              </a:tr>
              <a:tr h="161365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6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ID" sz="1000" u="none" strike="noStrike" dirty="0">
                          <a:effectLst/>
                        </a:rPr>
                        <a:t>RSUD Taman Sari</a:t>
                      </a:r>
                      <a:endParaRPr lang="en-ID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Elva PACS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01/09/2024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1 Tahun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extLst>
                  <a:ext uri="{0D108BD9-81ED-4DB2-BD59-A6C34878D82A}">
                    <a16:rowId xmlns:a16="http://schemas.microsoft.com/office/drawing/2014/main" val="3133536910"/>
                  </a:ext>
                </a:extLst>
              </a:tr>
              <a:tr h="161365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7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RS Bunda Thamrin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Elva PACS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01/10/2024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1 Tahun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extLst>
                  <a:ext uri="{0D108BD9-81ED-4DB2-BD59-A6C34878D82A}">
                    <a16:rowId xmlns:a16="http://schemas.microsoft.com/office/drawing/2014/main" val="2946448168"/>
                  </a:ext>
                </a:extLst>
              </a:tr>
              <a:tr h="161365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8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ID" sz="1000" u="none" strike="noStrike" dirty="0">
                          <a:effectLst/>
                        </a:rPr>
                        <a:t>RS Puri </a:t>
                      </a:r>
                      <a:r>
                        <a:rPr lang="en-ID" sz="1000" u="none" strike="noStrike" dirty="0" err="1">
                          <a:effectLst/>
                        </a:rPr>
                        <a:t>Cinere</a:t>
                      </a:r>
                      <a:endParaRPr lang="en-ID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Elva PACS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01/10/2024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1 tahun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extLst>
                  <a:ext uri="{0D108BD9-81ED-4DB2-BD59-A6C34878D82A}">
                    <a16:rowId xmlns:a16="http://schemas.microsoft.com/office/drawing/2014/main" val="3512319729"/>
                  </a:ext>
                </a:extLst>
              </a:tr>
              <a:tr h="161365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9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ID" sz="1000" u="none" strike="noStrike" dirty="0">
                          <a:effectLst/>
                        </a:rPr>
                        <a:t>RS </a:t>
                      </a:r>
                      <a:r>
                        <a:rPr lang="en-ID" sz="1000" u="none" strike="noStrike" dirty="0" err="1">
                          <a:effectLst/>
                        </a:rPr>
                        <a:t>Bayukarta</a:t>
                      </a:r>
                      <a:endParaRPr lang="en-ID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Elva PACS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01/11/2024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ID" sz="1000" u="none" strike="noStrike" dirty="0">
                          <a:effectLst/>
                        </a:rPr>
                        <a:t>1 </a:t>
                      </a:r>
                      <a:r>
                        <a:rPr lang="en-ID" sz="1000" u="none" strike="noStrike" dirty="0" err="1">
                          <a:effectLst/>
                        </a:rPr>
                        <a:t>Tahun</a:t>
                      </a:r>
                      <a:r>
                        <a:rPr lang="en-ID" sz="1000" u="none" strike="noStrike" dirty="0">
                          <a:effectLst/>
                        </a:rPr>
                        <a:t> + 1 </a:t>
                      </a:r>
                      <a:r>
                        <a:rPr lang="en-ID" sz="1000" u="none" strike="noStrike" dirty="0" err="1">
                          <a:effectLst/>
                        </a:rPr>
                        <a:t>Tahun</a:t>
                      </a:r>
                      <a:endParaRPr lang="en-ID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/>
                </a:tc>
                <a:extLst>
                  <a:ext uri="{0D108BD9-81ED-4DB2-BD59-A6C34878D82A}">
                    <a16:rowId xmlns:a16="http://schemas.microsoft.com/office/drawing/2014/main" val="4095193039"/>
                  </a:ext>
                </a:extLst>
              </a:tr>
              <a:tr h="161365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 dirty="0">
                          <a:effectLst/>
                        </a:rPr>
                        <a:t>10</a:t>
                      </a:r>
                      <a:endParaRPr lang="en-ID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ID" sz="1000" u="none" strike="noStrike" dirty="0">
                          <a:effectLst/>
                        </a:rPr>
                        <a:t>RS Imelda</a:t>
                      </a:r>
                      <a:endParaRPr lang="en-ID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Elva PACS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01/12/2024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1 Tahun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/>
                </a:tc>
                <a:extLst>
                  <a:ext uri="{0D108BD9-81ED-4DB2-BD59-A6C34878D82A}">
                    <a16:rowId xmlns:a16="http://schemas.microsoft.com/office/drawing/2014/main" val="485211274"/>
                  </a:ext>
                </a:extLst>
              </a:tr>
              <a:tr h="161365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11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Klinik DYM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Elva PACS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01/12/2024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2 Tahun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/>
                </a:tc>
                <a:extLst>
                  <a:ext uri="{0D108BD9-81ED-4DB2-BD59-A6C34878D82A}">
                    <a16:rowId xmlns:a16="http://schemas.microsoft.com/office/drawing/2014/main" val="174373782"/>
                  </a:ext>
                </a:extLst>
              </a:tr>
              <a:tr h="161365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12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ID" sz="1000" u="none" strike="noStrike" dirty="0">
                          <a:effectLst/>
                        </a:rPr>
                        <a:t>RSUD </a:t>
                      </a:r>
                      <a:r>
                        <a:rPr lang="en-ID" sz="1000" u="none" strike="noStrike" dirty="0" err="1">
                          <a:effectLst/>
                        </a:rPr>
                        <a:t>Husada</a:t>
                      </a:r>
                      <a:r>
                        <a:rPr lang="en-ID" sz="1000" u="none" strike="noStrike" dirty="0">
                          <a:effectLst/>
                        </a:rPr>
                        <a:t> Prima</a:t>
                      </a:r>
                      <a:endParaRPr lang="en-ID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Elva PACS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01/12/2024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1 Tahun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/>
                </a:tc>
                <a:extLst>
                  <a:ext uri="{0D108BD9-81ED-4DB2-BD59-A6C34878D82A}">
                    <a16:rowId xmlns:a16="http://schemas.microsoft.com/office/drawing/2014/main" val="231664925"/>
                  </a:ext>
                </a:extLst>
              </a:tr>
              <a:tr h="161365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13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RSUD Tanjung Priok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 dirty="0">
                          <a:effectLst/>
                        </a:rPr>
                        <a:t>Elva PACS</a:t>
                      </a:r>
                      <a:endParaRPr lang="en-ID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01/12/2024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1 tahun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extLst>
                  <a:ext uri="{0D108BD9-81ED-4DB2-BD59-A6C34878D82A}">
                    <a16:rowId xmlns:a16="http://schemas.microsoft.com/office/drawing/2014/main" val="2488687744"/>
                  </a:ext>
                </a:extLst>
              </a:tr>
              <a:tr h="161365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14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RSPAD Gatot Soebroto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Elva PACS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01/12/2024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1 Tahun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extLst>
                  <a:ext uri="{0D108BD9-81ED-4DB2-BD59-A6C34878D82A}">
                    <a16:rowId xmlns:a16="http://schemas.microsoft.com/office/drawing/2014/main" val="3678797632"/>
                  </a:ext>
                </a:extLst>
              </a:tr>
              <a:tr h="161365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15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ID" sz="1000" u="none" strike="noStrike" dirty="0">
                          <a:effectLst/>
                        </a:rPr>
                        <a:t>RSUD </a:t>
                      </a:r>
                      <a:r>
                        <a:rPr lang="en-ID" sz="1000" u="none" strike="noStrike" dirty="0" err="1">
                          <a:effectLst/>
                        </a:rPr>
                        <a:t>Husada</a:t>
                      </a:r>
                      <a:r>
                        <a:rPr lang="en-ID" sz="1000" u="none" strike="noStrike" dirty="0">
                          <a:effectLst/>
                        </a:rPr>
                        <a:t> Prima</a:t>
                      </a:r>
                      <a:endParaRPr lang="en-ID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Elva PACS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01/01/2025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1 Tahun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extLst>
                  <a:ext uri="{0D108BD9-81ED-4DB2-BD59-A6C34878D82A}">
                    <a16:rowId xmlns:a16="http://schemas.microsoft.com/office/drawing/2014/main" val="2687400337"/>
                  </a:ext>
                </a:extLst>
              </a:tr>
              <a:tr h="161365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16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RS AR Bunda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 dirty="0">
                          <a:effectLst/>
                        </a:rPr>
                        <a:t>Elva PACS</a:t>
                      </a:r>
                      <a:endParaRPr lang="en-ID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01/02/2025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1 Tahun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/>
                </a:tc>
                <a:extLst>
                  <a:ext uri="{0D108BD9-81ED-4DB2-BD59-A6C34878D82A}">
                    <a16:rowId xmlns:a16="http://schemas.microsoft.com/office/drawing/2014/main" val="2091925629"/>
                  </a:ext>
                </a:extLst>
              </a:tr>
              <a:tr h="161365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17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RSUD Langsa ACEH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Elva PACS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01/03/2025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1 Tahun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/>
                </a:tc>
                <a:extLst>
                  <a:ext uri="{0D108BD9-81ED-4DB2-BD59-A6C34878D82A}">
                    <a16:rowId xmlns:a16="http://schemas.microsoft.com/office/drawing/2014/main" val="655956161"/>
                  </a:ext>
                </a:extLst>
              </a:tr>
              <a:tr h="161365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18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ID" sz="1000" u="none" strike="noStrike" dirty="0">
                          <a:effectLst/>
                        </a:rPr>
                        <a:t>RS Permata </a:t>
                      </a:r>
                      <a:r>
                        <a:rPr lang="en-ID" sz="1000" u="none" strike="noStrike" dirty="0" err="1">
                          <a:effectLst/>
                        </a:rPr>
                        <a:t>Pamulang</a:t>
                      </a:r>
                      <a:endParaRPr lang="en-ID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Elva PACS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 dirty="0">
                          <a:effectLst/>
                        </a:rPr>
                        <a:t>01/05/2025</a:t>
                      </a:r>
                      <a:endParaRPr lang="en-ID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ID" sz="1000" u="none" strike="noStrike" dirty="0">
                          <a:effectLst/>
                        </a:rPr>
                        <a:t>1 </a:t>
                      </a:r>
                      <a:r>
                        <a:rPr lang="en-ID" sz="1000" u="none" strike="noStrike" dirty="0" err="1">
                          <a:effectLst/>
                        </a:rPr>
                        <a:t>tahun</a:t>
                      </a:r>
                      <a:endParaRPr lang="en-ID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extLst>
                  <a:ext uri="{0D108BD9-81ED-4DB2-BD59-A6C34878D82A}">
                    <a16:rowId xmlns:a16="http://schemas.microsoft.com/office/drawing/2014/main" val="3288444011"/>
                  </a:ext>
                </a:extLst>
              </a:tr>
              <a:tr h="161365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19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RSUD Aceh Tamiang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Elva PACS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01/08/2025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1 tahun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extLst>
                  <a:ext uri="{0D108BD9-81ED-4DB2-BD59-A6C34878D82A}">
                    <a16:rowId xmlns:a16="http://schemas.microsoft.com/office/drawing/2014/main" val="2660058494"/>
                  </a:ext>
                </a:extLst>
              </a:tr>
              <a:tr h="161365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20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RSU Widodo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Elvasoft PACS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01/08/2025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1 Tahun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extLst>
                  <a:ext uri="{0D108BD9-81ED-4DB2-BD59-A6C34878D82A}">
                    <a16:rowId xmlns:a16="http://schemas.microsoft.com/office/drawing/2014/main" val="2045832293"/>
                  </a:ext>
                </a:extLst>
              </a:tr>
              <a:tr h="161365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21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ID" sz="1000" u="none" strike="noStrike" dirty="0">
                          <a:effectLst/>
                        </a:rPr>
                        <a:t>RS Bidadari Medan</a:t>
                      </a:r>
                      <a:endParaRPr lang="en-ID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Elvasoft PACS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 dirty="0">
                          <a:effectLst/>
                        </a:rPr>
                        <a:t>01/09/2025</a:t>
                      </a:r>
                      <a:endParaRPr lang="en-ID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1 Tahun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extLst>
                  <a:ext uri="{0D108BD9-81ED-4DB2-BD59-A6C34878D82A}">
                    <a16:rowId xmlns:a16="http://schemas.microsoft.com/office/drawing/2014/main" val="1618649799"/>
                  </a:ext>
                </a:extLst>
              </a:tr>
              <a:tr h="161365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22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ID" sz="1000" u="none" strike="noStrike" dirty="0">
                          <a:effectLst/>
                        </a:rPr>
                        <a:t>RSUD </a:t>
                      </a:r>
                      <a:r>
                        <a:rPr lang="en-ID" sz="1000" u="none" strike="noStrike" dirty="0" err="1">
                          <a:effectLst/>
                        </a:rPr>
                        <a:t>Blambangan</a:t>
                      </a:r>
                      <a:endParaRPr lang="en-ID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Elvasoft PACS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01/10/2025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1 Tahun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extLst>
                  <a:ext uri="{0D108BD9-81ED-4DB2-BD59-A6C34878D82A}">
                    <a16:rowId xmlns:a16="http://schemas.microsoft.com/office/drawing/2014/main" val="1214149888"/>
                  </a:ext>
                </a:extLst>
              </a:tr>
              <a:tr h="161365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23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RSUD Genteng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Elvasoft PACS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01/10/2025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1 Tahun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extLst>
                  <a:ext uri="{0D108BD9-81ED-4DB2-BD59-A6C34878D82A}">
                    <a16:rowId xmlns:a16="http://schemas.microsoft.com/office/drawing/2014/main" val="3003820822"/>
                  </a:ext>
                </a:extLst>
              </a:tr>
              <a:tr h="161365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24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ID" sz="1000" u="none" strike="noStrike" dirty="0">
                          <a:effectLst/>
                        </a:rPr>
                        <a:t>RSUD </a:t>
                      </a:r>
                      <a:r>
                        <a:rPr lang="en-ID" sz="1000" u="none" strike="noStrike" dirty="0" err="1">
                          <a:effectLst/>
                        </a:rPr>
                        <a:t>Pademangan</a:t>
                      </a:r>
                      <a:endParaRPr lang="en-ID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Elvasoft PACS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 dirty="0">
                          <a:effectLst/>
                        </a:rPr>
                        <a:t>01/11/2025</a:t>
                      </a:r>
                      <a:endParaRPr lang="en-ID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2 Tahun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extLst>
                  <a:ext uri="{0D108BD9-81ED-4DB2-BD59-A6C34878D82A}">
                    <a16:rowId xmlns:a16="http://schemas.microsoft.com/office/drawing/2014/main" val="2679788830"/>
                  </a:ext>
                </a:extLst>
              </a:tr>
              <a:tr h="161365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25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ID" sz="1000" u="none" strike="noStrike" dirty="0">
                          <a:effectLst/>
                        </a:rPr>
                        <a:t>RSU Ganesha</a:t>
                      </a:r>
                      <a:endParaRPr lang="en-ID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Elvasoft PACS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01/11/2025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5 Tahun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extLst>
                  <a:ext uri="{0D108BD9-81ED-4DB2-BD59-A6C34878D82A}">
                    <a16:rowId xmlns:a16="http://schemas.microsoft.com/office/drawing/2014/main" val="3994296292"/>
                  </a:ext>
                </a:extLst>
              </a:tr>
              <a:tr h="161365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26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ID" sz="1000" u="none" strike="noStrike" dirty="0">
                          <a:effectLst/>
                        </a:rPr>
                        <a:t>RS Jiwa Lembang</a:t>
                      </a:r>
                      <a:endParaRPr lang="en-ID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Elvasoft PACS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01/11/2025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1 Tahun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extLst>
                  <a:ext uri="{0D108BD9-81ED-4DB2-BD59-A6C34878D82A}">
                    <a16:rowId xmlns:a16="http://schemas.microsoft.com/office/drawing/2014/main" val="243013238"/>
                  </a:ext>
                </a:extLst>
              </a:tr>
              <a:tr h="161365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 dirty="0">
                          <a:effectLst/>
                        </a:rPr>
                        <a:t>27</a:t>
                      </a:r>
                      <a:endParaRPr lang="en-ID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ID" sz="1000" u="none" strike="noStrike" dirty="0">
                          <a:effectLst/>
                        </a:rPr>
                        <a:t>RS Bidadari Aceh</a:t>
                      </a:r>
                      <a:endParaRPr lang="en-ID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Elvasoft PACS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soon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ID" sz="1000" u="none" strike="noStrike" dirty="0">
                          <a:effectLst/>
                        </a:rPr>
                        <a:t>1 </a:t>
                      </a:r>
                      <a:r>
                        <a:rPr lang="en-ID" sz="1000" u="none" strike="noStrike" dirty="0" err="1">
                          <a:effectLst/>
                        </a:rPr>
                        <a:t>Tahun</a:t>
                      </a:r>
                      <a:endParaRPr lang="en-ID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extLst>
                  <a:ext uri="{0D108BD9-81ED-4DB2-BD59-A6C34878D82A}">
                    <a16:rowId xmlns:a16="http://schemas.microsoft.com/office/drawing/2014/main" val="821164445"/>
                  </a:ext>
                </a:extLst>
              </a:tr>
              <a:tr h="161365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 dirty="0">
                          <a:effectLst/>
                        </a:rPr>
                        <a:t>28</a:t>
                      </a:r>
                      <a:endParaRPr lang="en-ID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RS Panti Wilasa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Elvasoft PACS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soon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ID" sz="1000" u="none" strike="noStrike" dirty="0">
                          <a:effectLst/>
                        </a:rPr>
                        <a:t>1 </a:t>
                      </a:r>
                      <a:r>
                        <a:rPr lang="en-ID" sz="1000" u="none" strike="noStrike" dirty="0" err="1">
                          <a:effectLst/>
                        </a:rPr>
                        <a:t>Tahun</a:t>
                      </a:r>
                      <a:endParaRPr lang="en-ID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extLst>
                  <a:ext uri="{0D108BD9-81ED-4DB2-BD59-A6C34878D82A}">
                    <a16:rowId xmlns:a16="http://schemas.microsoft.com/office/drawing/2014/main" val="3091510832"/>
                  </a:ext>
                </a:extLst>
              </a:tr>
              <a:tr h="161365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 dirty="0">
                          <a:effectLst/>
                        </a:rPr>
                        <a:t>29</a:t>
                      </a:r>
                      <a:endParaRPr lang="en-ID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RS Horas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Elva PACS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tidak perpanjang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ID" sz="1000" u="none" strike="noStrike" dirty="0" err="1">
                          <a:effectLst/>
                        </a:rPr>
                        <a:t>sudah</a:t>
                      </a:r>
                      <a:r>
                        <a:rPr lang="en-ID" sz="1000" u="none" strike="noStrike" dirty="0">
                          <a:effectLst/>
                        </a:rPr>
                        <a:t> </a:t>
                      </a:r>
                      <a:r>
                        <a:rPr lang="en-ID" sz="1000" u="none" strike="noStrike" dirty="0" err="1">
                          <a:effectLst/>
                        </a:rPr>
                        <a:t>habis</a:t>
                      </a:r>
                      <a:r>
                        <a:rPr lang="en-ID" sz="1000" u="none" strike="noStrike" dirty="0">
                          <a:effectLst/>
                        </a:rPr>
                        <a:t> </a:t>
                      </a:r>
                      <a:r>
                        <a:rPr lang="en-ID" sz="1000" u="none" strike="noStrike" dirty="0" err="1">
                          <a:effectLst/>
                        </a:rPr>
                        <a:t>tahun</a:t>
                      </a:r>
                      <a:r>
                        <a:rPr lang="en-ID" sz="1000" u="none" strike="noStrike" dirty="0">
                          <a:effectLst/>
                        </a:rPr>
                        <a:t> 2024</a:t>
                      </a:r>
                      <a:endParaRPr lang="en-ID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extLst>
                  <a:ext uri="{0D108BD9-81ED-4DB2-BD59-A6C34878D82A}">
                    <a16:rowId xmlns:a16="http://schemas.microsoft.com/office/drawing/2014/main" val="1536581396"/>
                  </a:ext>
                </a:extLst>
              </a:tr>
              <a:tr h="161365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 dirty="0">
                          <a:effectLst/>
                        </a:rPr>
                        <a:t>30</a:t>
                      </a:r>
                      <a:endParaRPr lang="en-ID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RSI Jemur Sari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Elva PACS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ID" sz="1000" u="none" strike="noStrike">
                          <a:effectLst/>
                        </a:rPr>
                        <a:t>tidak perpanjang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ID" sz="1000" u="none" strike="noStrike" dirty="0" err="1">
                          <a:effectLst/>
                        </a:rPr>
                        <a:t>Sudah</a:t>
                      </a:r>
                      <a:r>
                        <a:rPr lang="en-ID" sz="1000" u="none" strike="noStrike" dirty="0">
                          <a:effectLst/>
                        </a:rPr>
                        <a:t> </a:t>
                      </a:r>
                      <a:r>
                        <a:rPr lang="en-ID" sz="1000" u="none" strike="noStrike" dirty="0" err="1">
                          <a:effectLst/>
                        </a:rPr>
                        <a:t>habis</a:t>
                      </a:r>
                      <a:r>
                        <a:rPr lang="en-ID" sz="1000" u="none" strike="noStrike" dirty="0">
                          <a:effectLst/>
                        </a:rPr>
                        <a:t> </a:t>
                      </a:r>
                      <a:r>
                        <a:rPr lang="en-ID" sz="1000" u="none" strike="noStrike" dirty="0" err="1">
                          <a:effectLst/>
                        </a:rPr>
                        <a:t>Tahun</a:t>
                      </a:r>
                      <a:r>
                        <a:rPr lang="en-ID" sz="1000" u="none" strike="noStrike" dirty="0">
                          <a:effectLst/>
                        </a:rPr>
                        <a:t> 2024</a:t>
                      </a:r>
                      <a:endParaRPr lang="en-ID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b"/>
                </a:tc>
                <a:extLst>
                  <a:ext uri="{0D108BD9-81ED-4DB2-BD59-A6C34878D82A}">
                    <a16:rowId xmlns:a16="http://schemas.microsoft.com/office/drawing/2014/main" val="2240114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070441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2025 Strategic Directio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46</TotalTime>
  <Words>700</Words>
  <Application>Microsoft Office PowerPoint</Application>
  <PresentationFormat>Widescreen</PresentationFormat>
  <Paragraphs>362</Paragraphs>
  <Slides>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5" baseType="lpstr">
      <vt:lpstr>Aptos</vt:lpstr>
      <vt:lpstr>Arial</vt:lpstr>
      <vt:lpstr>Calibri</vt:lpstr>
      <vt:lpstr>Calibri Light</vt:lpstr>
      <vt:lpstr>Open Sans</vt:lpstr>
      <vt:lpstr>3_2025 Strategic Direction</vt:lpstr>
      <vt:lpstr>think-cell Slide</vt:lpstr>
      <vt:lpstr>PowerPoint Presentation</vt:lpstr>
      <vt:lpstr>INSTALL BASE</vt:lpstr>
      <vt:lpstr>RUNNING WARRANTY</vt:lpstr>
      <vt:lpstr>OUT OF WARRANTY 2025</vt:lpstr>
      <vt:lpstr>INSATALL BASE TERBARU</vt:lpstr>
      <vt:lpstr>UPDATE INSTALLASI ELVASOFT TERBARU</vt:lpstr>
      <vt:lpstr>Thank You</vt:lpstr>
      <vt:lpstr>ALL INSTALLASI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ennita</dc:creator>
  <cp:lastModifiedBy>Hendi</cp:lastModifiedBy>
  <cp:revision>242</cp:revision>
  <dcterms:created xsi:type="dcterms:W3CDTF">2021-12-21T08:51:00Z</dcterms:created>
  <dcterms:modified xsi:type="dcterms:W3CDTF">2025-11-09T23:27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D151087D88B54DCCB515B7AAFD63C770_12</vt:lpwstr>
  </property>
  <property fmtid="{D5CDD505-2E9C-101B-9397-08002B2CF9AE}" pid="3" name="KSOProductBuildVer">
    <vt:lpwstr>2057-12.2.0.19821</vt:lpwstr>
  </property>
</Properties>
</file>